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4" d="100"/>
          <a:sy n="84" d="100"/>
        </p:scale>
        <p:origin x="-1116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11897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92718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1629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5786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6668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8941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5941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77096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54719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3123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0727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02802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55003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06 August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34295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1720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/>
          <a:p>
            <a:r>
              <a:rPr lang="en-US" dirty="0" smtClean="0"/>
              <a:t>Increase </a:t>
            </a:r>
            <a:r>
              <a:rPr lang="en-US" dirty="0"/>
              <a:t>shelf life and decrease the weight of your preforms</a:t>
            </a:r>
            <a:br>
              <a:rPr lang="en-US" dirty="0"/>
            </a:b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 anchor="b">
            <a:spAutoFit/>
          </a:bodyPr>
          <a:lstStyle/>
          <a:p>
            <a:r>
              <a:rPr lang="en-US" dirty="0" smtClean="0"/>
              <a:t>N2 </a:t>
            </a:r>
            <a:r>
              <a:rPr lang="en-US" dirty="0" smtClean="0"/>
              <a:t>Drop </a:t>
            </a:r>
            <a:r>
              <a:rPr lang="en-US" dirty="0"/>
              <a:t>Upgrade Kit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05264"/>
            <a:ext cx="7972425" cy="5416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ue: </a:t>
            </a:r>
            <a:r>
              <a:rPr sz="800" kern="0" dirty="0" smtClean="0">
                <a:solidFill>
                  <a:srgbClr val="000000"/>
                </a:solidFill>
              </a:rPr>
              <a:t>Product quality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Equipment: Fillers </a:t>
            </a:r>
            <a:r>
              <a:rPr lang="fr-FR" sz="800" kern="0" dirty="0">
                <a:solidFill>
                  <a:srgbClr val="000000"/>
                </a:solidFill>
              </a:rPr>
              <a:t>Eurostar RAA for PET- Eurotronica FM-C RVE – Eurostar HS REP - </a:t>
            </a:r>
            <a:r>
              <a:rPr lang="fr-FR" sz="800" kern="0" dirty="0" err="1">
                <a:solidFill>
                  <a:srgbClr val="000000"/>
                </a:solidFill>
              </a:rPr>
              <a:t>Starlight</a:t>
            </a:r>
            <a:r>
              <a:rPr lang="fr-FR" sz="800" kern="0" dirty="0">
                <a:solidFill>
                  <a:srgbClr val="000000"/>
                </a:solidFill>
              </a:rPr>
              <a:t> RBC - </a:t>
            </a:r>
            <a:r>
              <a:rPr lang="fr-FR" sz="800" kern="0" dirty="0" err="1">
                <a:solidFill>
                  <a:srgbClr val="000000"/>
                </a:solidFill>
              </a:rPr>
              <a:t>Stilljet</a:t>
            </a:r>
            <a:r>
              <a:rPr lang="fr-FR" sz="800" kern="0" dirty="0">
                <a:solidFill>
                  <a:srgbClr val="000000"/>
                </a:solidFill>
              </a:rPr>
              <a:t> RJT - Eurostar PN RVT – PRT - Starcans HS RSC - </a:t>
            </a:r>
            <a:r>
              <a:rPr lang="fr-FR" sz="800" kern="0" dirty="0" err="1">
                <a:solidFill>
                  <a:srgbClr val="000000"/>
                </a:solidFill>
              </a:rPr>
              <a:t>Bluestar</a:t>
            </a:r>
            <a:r>
              <a:rPr lang="fr-FR" sz="800" kern="0" dirty="0">
                <a:solidFill>
                  <a:srgbClr val="000000"/>
                </a:solidFill>
              </a:rPr>
              <a:t> RBS - Selecta C RFD - Eurotronica FM- S RFI - Europa WM - </a:t>
            </a:r>
            <a:r>
              <a:rPr lang="fr-FR" sz="800" kern="0" dirty="0" smtClean="0">
                <a:solidFill>
                  <a:srgbClr val="000000"/>
                </a:solidFill>
              </a:rPr>
              <a:t>RFE</a:t>
            </a:r>
            <a:endParaRPr sz="800" kern="0" dirty="0" smtClean="0">
              <a:solidFill>
                <a:srgbClr val="000000"/>
              </a:solidFill>
            </a:endParaRPr>
          </a:p>
          <a:p>
            <a:r>
              <a:rPr sz="800" kern="0" dirty="0" smtClean="0">
                <a:solidFill>
                  <a:srgbClr val="000000"/>
                </a:solidFill>
              </a:rPr>
              <a:t>Catalogue </a:t>
            </a:r>
            <a:r>
              <a:rPr sz="800" kern="0" dirty="0">
                <a:solidFill>
                  <a:srgbClr val="000000"/>
                </a:solidFill>
              </a:rPr>
              <a:t>code: </a:t>
            </a:r>
            <a:r>
              <a:rPr sz="800" kern="0" dirty="0" smtClean="0">
                <a:solidFill>
                  <a:srgbClr val="000000"/>
                </a:solidFill>
              </a:rPr>
              <a:t>HS035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7265416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cise delivery of low-pressure liquid nitrogen on the highest speed package lines.</a:t>
                      </a:r>
                    </a:p>
                    <a:p>
                      <a:pPr marL="723900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igh-speed liquid nitrogen dosing valve with the lowest liquid nitrogen consumption</a:t>
                      </a:r>
                    </a:p>
                    <a:p>
                      <a:pPr marL="723900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igh-efficiency vacuum insulation</a:t>
                      </a:r>
                    </a:p>
                    <a:p>
                      <a:pPr marL="723900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se compensation allowing for fine adjustments of dose amount and timing during operation</a:t>
                      </a:r>
                    </a:p>
                    <a:p>
                      <a:pPr marL="723900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C controls with touch screen panel for ease of operation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cise liquid nitrogen dosing at all line speeds.</a:t>
                      </a:r>
                    </a:p>
                    <a:p>
                      <a:pPr marL="723900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istent pressure in every container</a:t>
                      </a:r>
                    </a:p>
                    <a:p>
                      <a:pPr marL="723900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rastically reduced oxygen level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precisely timed drop of liquid nitrogen is dosed into the head space above the beverage in a bottle/can after filling and before sealing/capping. The cold liquid nitrogen (-196°C) turns into nitrogen gas at room temperature and expands rapidly. Since the bottle is capped at a certain time after dosing, this process creates a defined internal pressure in the bottle/can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</a:t>
                      </a:r>
                      <a:r>
                        <a:rPr kumimoji="0" lang="en-US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itrodose</a:t>
                      </a: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system has been developed to meet these requirements and to cut cost at the same time by providing a precise charge of liquid nitrogen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175" y="4509120"/>
            <a:ext cx="1819523" cy="11800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969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234</Words>
  <Application>Microsoft Office PowerPoint</Application>
  <PresentationFormat>Affichage à l'écran (4:3)</PresentationFormat>
  <Paragraphs>17</Paragraphs>
  <Slides>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3" baseType="lpstr">
      <vt:lpstr>15_Sidel Template 2013</vt:lpstr>
      <vt:lpstr>think-cell Folie</vt:lpstr>
      <vt:lpstr>Increase shelf life and decrease the weight of your preforms </vt:lpstr>
    </vt:vector>
  </TitlesOfParts>
  <Company>Side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rease lifetime of pressurization valves</dc:title>
  <dc:creator>Gouriou, Lydie</dc:creator>
  <cp:lastModifiedBy>Gouriou, Lydie</cp:lastModifiedBy>
  <cp:revision>2</cp:revision>
  <dcterms:created xsi:type="dcterms:W3CDTF">2014-08-06T13:34:52Z</dcterms:created>
  <dcterms:modified xsi:type="dcterms:W3CDTF">2014-08-06T13:41:35Z</dcterms:modified>
</cp:coreProperties>
</file>